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sldIdLst>
    <p:sldId id="281" r:id="rId5"/>
    <p:sldId id="257" r:id="rId6"/>
    <p:sldId id="284" r:id="rId7"/>
    <p:sldId id="258" r:id="rId8"/>
    <p:sldId id="259" r:id="rId9"/>
    <p:sldId id="262" r:id="rId10"/>
    <p:sldId id="268" r:id="rId11"/>
    <p:sldId id="282" r:id="rId12"/>
    <p:sldId id="283" r:id="rId13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7" autoAdjust="0"/>
    <p:restoredTop sz="94660"/>
  </p:normalViewPr>
  <p:slideViewPr>
    <p:cSldViewPr>
      <p:cViewPr varScale="1">
        <p:scale>
          <a:sx n="63" d="100"/>
          <a:sy n="63" d="100"/>
        </p:scale>
        <p:origin x="1445" y="5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0EBD2A-8DE1-41A2-A932-53471C98DF78}" type="datetimeFigureOut">
              <a:rPr lang="en-US" smtClean="0"/>
              <a:pPr/>
              <a:t>2/2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DC055A-0F29-4BFC-8AB5-33E7FC610B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17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09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Rev. A 02/27/2018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1D1109-3E24-4EB2-B983-3313F49F6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20975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Web Training – Contested Quality Data</a:t>
            </a:r>
            <a:br>
              <a:rPr lang="en-US" sz="3200" dirty="0"/>
            </a:br>
            <a:r>
              <a:rPr lang="en-US" sz="2400" dirty="0"/>
              <a:t>Scope: Instructions for Submitting Contested Quality Data</a:t>
            </a:r>
            <a:endParaRPr lang="en-US" sz="3200" dirty="0"/>
          </a:p>
        </p:txBody>
      </p:sp>
      <p:pic>
        <p:nvPicPr>
          <p:cNvPr id="4" name="Picture 11" descr="TG_2C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874" y="652689"/>
            <a:ext cx="2160588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65113" y="2036763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301625" y="5030788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089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D474D14-749E-4DC8-9B7F-8630C3D0397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355" t="22580" r="1038" b="19990"/>
          <a:stretch/>
        </p:blipFill>
        <p:spPr>
          <a:xfrm>
            <a:off x="457200" y="609600"/>
            <a:ext cx="8229600" cy="54864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209800" y="4572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0" y="0"/>
            <a:ext cx="314015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Quality  Da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752600" y="5486400"/>
            <a:ext cx="6705600" cy="12003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/>
              <a:t>SCMP 5.2 Para 7.3.2 “Within 10 working days  of the issuance of the performance reports,  suppliers may contest a Delivery/Quality Data by submitting an electronic appeal concerning specific issues via the triumphsupplysource.com web site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76800" y="2694801"/>
            <a:ext cx="3581400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 Supplier can Contest  Quality Data by selecting the Quality Snapshot Report.</a:t>
            </a:r>
          </a:p>
        </p:txBody>
      </p:sp>
      <p:cxnSp>
        <p:nvCxnSpPr>
          <p:cNvPr id="11" name="Straight Arrow Connector 10"/>
          <p:cNvCxnSpPr>
            <a:cxnSpLocks/>
          </p:cNvCxnSpPr>
          <p:nvPr/>
        </p:nvCxnSpPr>
        <p:spPr>
          <a:xfrm flipV="1">
            <a:off x="6096000" y="1828800"/>
            <a:ext cx="0" cy="86600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5F6A7C-0A39-4DA6-806E-C6AB4D17E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737119-CA62-461E-897F-33A823837D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B30414-22C4-4C99-BF13-F9DDFA3CEA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066800"/>
            <a:ext cx="8077200" cy="44196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AD7DEEC-7EE3-489D-B4F0-E3B9F8C0C09B}"/>
              </a:ext>
            </a:extLst>
          </p:cNvPr>
          <p:cNvSpPr/>
          <p:nvPr/>
        </p:nvSpPr>
        <p:spPr>
          <a:xfrm>
            <a:off x="609600" y="914400"/>
            <a:ext cx="6705600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/>
              <a:t>Click on 12 Month Cum Quality Yield to view Quality Yield Performance graph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76D4BFB-FF5C-4DCE-B0DF-BBAA3B453759}"/>
              </a:ext>
            </a:extLst>
          </p:cNvPr>
          <p:cNvCxnSpPr/>
          <p:nvPr/>
        </p:nvCxnSpPr>
        <p:spPr>
          <a:xfrm>
            <a:off x="2133600" y="1524000"/>
            <a:ext cx="457200" cy="1066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41096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/>
          <p:cNvCxnSpPr/>
          <p:nvPr/>
        </p:nvCxnSpPr>
        <p:spPr>
          <a:xfrm>
            <a:off x="7086600" y="3886200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0" y="0"/>
            <a:ext cx="307122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Quality Data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 rotWithShape="1">
          <a:blip r:embed="rId2" cstate="print"/>
          <a:srcRect l="71226" t="13981" r="4188" b="52039"/>
          <a:stretch/>
        </p:blipFill>
        <p:spPr bwMode="auto">
          <a:xfrm>
            <a:off x="2833686" y="381000"/>
            <a:ext cx="4995864" cy="2330315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sp>
        <p:nvSpPr>
          <p:cNvPr id="13" name="TextBox 12"/>
          <p:cNvSpPr txBox="1"/>
          <p:nvPr/>
        </p:nvSpPr>
        <p:spPr>
          <a:xfrm>
            <a:off x="2781300" y="1222991"/>
            <a:ext cx="483870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Triumph Company</a:t>
            </a:r>
          </a:p>
        </p:txBody>
      </p:sp>
      <p:sp>
        <p:nvSpPr>
          <p:cNvPr id="14" name="Oval 13"/>
          <p:cNvSpPr/>
          <p:nvPr/>
        </p:nvSpPr>
        <p:spPr>
          <a:xfrm>
            <a:off x="3352800" y="5083584"/>
            <a:ext cx="914400" cy="7620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4800600" y="2743200"/>
            <a:ext cx="114300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B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061756-B879-4D55-8130-1DB7CD51B6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6449" y="2600162"/>
            <a:ext cx="6510338" cy="338842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F88733F-578F-478D-8E76-B940BAB7DF48}"/>
              </a:ext>
            </a:extLst>
          </p:cNvPr>
          <p:cNvSpPr txBox="1"/>
          <p:nvPr/>
        </p:nvSpPr>
        <p:spPr>
          <a:xfrm>
            <a:off x="2781300" y="6043064"/>
            <a:ext cx="4838700" cy="6463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hen select the month in which the non conformance occurred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5CFEEBD-17C6-4700-8B02-6D1F24E506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371600"/>
            <a:ext cx="7924800" cy="44196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307122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Quality Dat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04800" y="3181957"/>
            <a:ext cx="2209800" cy="6463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elect the part number</a:t>
            </a:r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457200" y="3810000"/>
            <a:ext cx="0" cy="7620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590800" y="990600"/>
            <a:ext cx="2895600" cy="3048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408A91A-D369-4533-9517-B739B5C26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700" y="516529"/>
            <a:ext cx="8610600" cy="5496379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0" y="0"/>
            <a:ext cx="307122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Quality Data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43500" y="5187701"/>
            <a:ext cx="3733800" cy="6463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mplete form and attach documents ,if applicable, and Submit</a:t>
            </a:r>
          </a:p>
        </p:txBody>
      </p:sp>
      <p:cxnSp>
        <p:nvCxnSpPr>
          <p:cNvPr id="13" name="Straight Arrow Connector 12"/>
          <p:cNvCxnSpPr>
            <a:cxnSpLocks/>
            <a:stCxn id="10" idx="1"/>
          </p:cNvCxnSpPr>
          <p:nvPr/>
        </p:nvCxnSpPr>
        <p:spPr>
          <a:xfrm flipH="1" flipV="1">
            <a:off x="4876800" y="5187701"/>
            <a:ext cx="266700" cy="323166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cxnSpLocks/>
          </p:cNvCxnSpPr>
          <p:nvPr/>
        </p:nvCxnSpPr>
        <p:spPr>
          <a:xfrm flipH="1">
            <a:off x="4953000" y="5812696"/>
            <a:ext cx="190500" cy="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307122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Quality Data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05000" y="5029200"/>
            <a:ext cx="4495800" cy="6463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Your submission has been sent to Triumph Administrato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01C197-3411-4426-AC7E-E04C62342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990600"/>
            <a:ext cx="8153400" cy="3681412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0" y="0"/>
            <a:ext cx="307122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/>
              <a:t>Contested Quality Data</a:t>
            </a:r>
            <a:endParaRPr lang="en-US" sz="2400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 rotWithShape="1">
          <a:blip r:embed="rId2" cstate="print"/>
          <a:srcRect l="70877" t="24033" r="3844" b="13056"/>
          <a:stretch/>
        </p:blipFill>
        <p:spPr bwMode="auto">
          <a:xfrm>
            <a:off x="152400" y="766464"/>
            <a:ext cx="5613400" cy="3951585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sp>
        <p:nvSpPr>
          <p:cNvPr id="7" name="TextBox 6"/>
          <p:cNvSpPr txBox="1"/>
          <p:nvPr/>
        </p:nvSpPr>
        <p:spPr>
          <a:xfrm>
            <a:off x="228600" y="1715869"/>
            <a:ext cx="7010400" cy="6463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Notification of Contested Data will be shown on your Home Screen.    </a:t>
            </a:r>
          </a:p>
          <a:p>
            <a:r>
              <a:rPr lang="en-US" dirty="0"/>
              <a:t>As well as the Triumph BU Quality Personnel</a:t>
            </a:r>
          </a:p>
        </p:txBody>
      </p:sp>
      <p:sp>
        <p:nvSpPr>
          <p:cNvPr id="8" name="Oval 7"/>
          <p:cNvSpPr/>
          <p:nvPr/>
        </p:nvSpPr>
        <p:spPr>
          <a:xfrm>
            <a:off x="152400" y="4114800"/>
            <a:ext cx="2057400" cy="762000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3657600" y="3962400"/>
            <a:ext cx="2286000" cy="762000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/>
          <p:cNvCxnSpPr>
            <a:endCxn id="11" idx="1"/>
          </p:cNvCxnSpPr>
          <p:nvPr/>
        </p:nvCxnSpPr>
        <p:spPr>
          <a:xfrm>
            <a:off x="3276600" y="3200400"/>
            <a:ext cx="715777" cy="87359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533400" y="5181600"/>
            <a:ext cx="236220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lick on the Hyperlink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 flipV="1">
            <a:off x="1600200" y="4724400"/>
            <a:ext cx="0" cy="4572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3" cstate="print"/>
          <a:srcRect l="70807" t="30222" r="4623" b="35648"/>
          <a:stretch>
            <a:fillRect/>
          </a:stretch>
        </p:blipFill>
        <p:spPr bwMode="auto">
          <a:xfrm>
            <a:off x="3276600" y="2895600"/>
            <a:ext cx="5715000" cy="2819400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cxnSp>
        <p:nvCxnSpPr>
          <p:cNvPr id="10" name="Straight Arrow Connector 9"/>
          <p:cNvCxnSpPr/>
          <p:nvPr/>
        </p:nvCxnSpPr>
        <p:spPr>
          <a:xfrm>
            <a:off x="2971800" y="2362200"/>
            <a:ext cx="762000" cy="17526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4BEA510-344B-44FA-8781-C98F6F1931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887" y="657225"/>
            <a:ext cx="8658225" cy="554355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A 02/27/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1D1109-3E24-4EB2-B983-3313F49F602A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0" y="0"/>
            <a:ext cx="3071225" cy="4616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400" dirty="0"/>
              <a:t>Contested Quality Data</a:t>
            </a:r>
          </a:p>
        </p:txBody>
      </p:sp>
      <p:cxnSp>
        <p:nvCxnSpPr>
          <p:cNvPr id="14" name="Straight Arrow Connector 13"/>
          <p:cNvCxnSpPr>
            <a:cxnSpLocks/>
          </p:cNvCxnSpPr>
          <p:nvPr/>
        </p:nvCxnSpPr>
        <p:spPr>
          <a:xfrm flipH="1">
            <a:off x="2562686" y="4034135"/>
            <a:ext cx="502443" cy="14478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1007729" y="5400103"/>
            <a:ext cx="2057400" cy="762000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066798" y="3110805"/>
            <a:ext cx="7620001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Once Contested data has been processed, it is removed from your Home page.  A separate e-mail will be sent describing disposition of contested data by TGI quality.</a:t>
            </a:r>
          </a:p>
        </p:txBody>
      </p:sp>
    </p:spTree>
    <p:extLst>
      <p:ext uri="{BB962C8B-B14F-4D97-AF65-F5344CB8AC3E}">
        <p14:creationId xmlns:p14="http://schemas.microsoft.com/office/powerpoint/2010/main" val="3362455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72F547B8539F4FB013F5CE3D0F4EAB" ma:contentTypeVersion="0" ma:contentTypeDescription="Create a new document." ma:contentTypeScope="" ma:versionID="c95fdb918ae7e398dce7885d8c92835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432F33C-D582-475E-BE03-81D140A40B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30D753C-E9E2-447E-BD10-6AB620B15CB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6EF3A27-C613-46D4-A08C-32F336326C02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02</TotalTime>
  <Words>232</Words>
  <Application>Microsoft Office PowerPoint</Application>
  <PresentationFormat>On-screen Show (4:3)</PresentationFormat>
  <Paragraphs>40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Arial</vt:lpstr>
      <vt:lpstr>Calibri</vt:lpstr>
      <vt:lpstr>Office Theme</vt:lpstr>
      <vt:lpstr>Web Training – Contested Quality Data Scope: Instructions for Submitting Contested Quality Dat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willford</dc:creator>
  <cp:lastModifiedBy>Willford, Eric</cp:lastModifiedBy>
  <cp:revision>260</cp:revision>
  <dcterms:created xsi:type="dcterms:W3CDTF">2014-01-17T17:48:19Z</dcterms:created>
  <dcterms:modified xsi:type="dcterms:W3CDTF">2018-02-27T21:1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E72F547B8539F4FB013F5CE3D0F4EAB</vt:lpwstr>
  </property>
</Properties>
</file>